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63" r:id="rId6"/>
    <p:sldId id="265" r:id="rId7"/>
    <p:sldId id="258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4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77AC39-6048-41EB-9B71-21E7E98C6418}" v="24" dt="2024-04-02T13:23:19.1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 varScale="1">
        <p:scale>
          <a:sx n="107" d="100"/>
          <a:sy n="107" d="100"/>
        </p:scale>
        <p:origin x="138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ugene Lugovskyi" userId="aace808c-87ce-48d4-891e-5b1a4f8a8e4c" providerId="ADAL" clId="{F477AC39-6048-41EB-9B71-21E7E98C6418}"/>
    <pc:docChg chg="undo custSel addSld delSld modSld replTag">
      <pc:chgData name="Eugene Lugovskyi" userId="aace808c-87ce-48d4-891e-5b1a4f8a8e4c" providerId="ADAL" clId="{F477AC39-6048-41EB-9B71-21E7E98C6418}" dt="2024-04-02T13:33:47.331" v="934" actId="20577"/>
      <pc:docMkLst>
        <pc:docMk/>
      </pc:docMkLst>
      <pc:sldChg chg="del">
        <pc:chgData name="Eugene Lugovskyi" userId="aace808c-87ce-48d4-891e-5b1a4f8a8e4c" providerId="ADAL" clId="{F477AC39-6048-41EB-9B71-21E7E98C6418}" dt="2024-03-27T13:10:26.542" v="66" actId="47"/>
        <pc:sldMkLst>
          <pc:docMk/>
          <pc:sldMk cId="846787078" sldId="257"/>
        </pc:sldMkLst>
      </pc:sldChg>
      <pc:sldChg chg="del">
        <pc:chgData name="Eugene Lugovskyi" userId="aace808c-87ce-48d4-891e-5b1a4f8a8e4c" providerId="ADAL" clId="{F477AC39-6048-41EB-9B71-21E7E98C6418}" dt="2024-03-27T13:10:13.592" v="61" actId="47"/>
        <pc:sldMkLst>
          <pc:docMk/>
          <pc:sldMk cId="1898342149" sldId="260"/>
        </pc:sldMkLst>
      </pc:sldChg>
      <pc:sldChg chg="addSp delSp modSp new add del mod">
        <pc:chgData name="Eugene Lugovskyi" userId="aace808c-87ce-48d4-891e-5b1a4f8a8e4c" providerId="ADAL" clId="{F477AC39-6048-41EB-9B71-21E7E98C6418}" dt="2024-04-02T13:23:16.658" v="643" actId="47"/>
        <pc:sldMkLst>
          <pc:docMk/>
          <pc:sldMk cId="1564989136" sldId="261"/>
        </pc:sldMkLst>
        <pc:spChg chg="del">
          <ac:chgData name="Eugene Lugovskyi" userId="aace808c-87ce-48d4-891e-5b1a4f8a8e4c" providerId="ADAL" clId="{F477AC39-6048-41EB-9B71-21E7E98C6418}" dt="2024-03-27T12:03:00.365" v="3" actId="26606"/>
          <ac:spMkLst>
            <pc:docMk/>
            <pc:sldMk cId="1564989136" sldId="261"/>
            <ac:spMk id="2" creationId="{DC39CB11-F047-A6B6-050D-8290B632AFD8}"/>
          </ac:spMkLst>
        </pc:spChg>
        <pc:spChg chg="del">
          <ac:chgData name="Eugene Lugovskyi" userId="aace808c-87ce-48d4-891e-5b1a4f8a8e4c" providerId="ADAL" clId="{F477AC39-6048-41EB-9B71-21E7E98C6418}" dt="2024-03-27T12:03:00.365" v="3" actId="26606"/>
          <ac:spMkLst>
            <pc:docMk/>
            <pc:sldMk cId="1564989136" sldId="261"/>
            <ac:spMk id="3" creationId="{A57BBF36-62A9-D3B4-1681-A6EA87E28608}"/>
          </ac:spMkLst>
        </pc:spChg>
        <pc:spChg chg="del">
          <ac:chgData name="Eugene Lugovskyi" userId="aace808c-87ce-48d4-891e-5b1a4f8a8e4c" providerId="ADAL" clId="{F477AC39-6048-41EB-9B71-21E7E98C6418}" dt="2024-03-27T12:02:56.282" v="2"/>
          <ac:spMkLst>
            <pc:docMk/>
            <pc:sldMk cId="1564989136" sldId="261"/>
            <ac:spMk id="4" creationId="{406AB548-A32F-8B4E-DA15-9B0AB27719E3}"/>
          </ac:spMkLst>
        </pc:spChg>
        <pc:spChg chg="add del mod modVis">
          <ac:chgData name="Eugene Lugovskyi" userId="aace808c-87ce-48d4-891e-5b1a4f8a8e4c" providerId="ADAL" clId="{F477AC39-6048-41EB-9B71-21E7E98C6418}" dt="2024-03-27T12:05:55.578" v="47"/>
          <ac:spMkLst>
            <pc:docMk/>
            <pc:sldMk cId="1564989136" sldId="261"/>
            <ac:spMk id="6" creationId="{4B3EA448-2C5C-A40F-CE9A-3B4B1D0C49AF}"/>
          </ac:spMkLst>
        </pc:spChg>
        <pc:spChg chg="add mod">
          <ac:chgData name="Eugene Lugovskyi" userId="aace808c-87ce-48d4-891e-5b1a4f8a8e4c" providerId="ADAL" clId="{F477AC39-6048-41EB-9B71-21E7E98C6418}" dt="2024-04-02T13:20:11.727" v="395" actId="20577"/>
          <ac:spMkLst>
            <pc:docMk/>
            <pc:sldMk cId="1564989136" sldId="261"/>
            <ac:spMk id="8" creationId="{AD92B197-0B3E-FE5A-87E6-FF4BE8EB60A9}"/>
          </ac:spMkLst>
        </pc:spChg>
        <pc:spChg chg="add del mod">
          <ac:chgData name="Eugene Lugovskyi" userId="aace808c-87ce-48d4-891e-5b1a4f8a8e4c" providerId="ADAL" clId="{F477AC39-6048-41EB-9B71-21E7E98C6418}" dt="2024-03-27T14:14:33.218" v="335" actId="20577"/>
          <ac:spMkLst>
            <pc:docMk/>
            <pc:sldMk cId="1564989136" sldId="261"/>
            <ac:spMk id="9" creationId="{7CC8067A-2722-1E6E-8E23-9F093E792482}"/>
          </ac:spMkLst>
        </pc:spChg>
        <pc:spChg chg="add mod">
          <ac:chgData name="Eugene Lugovskyi" userId="aace808c-87ce-48d4-891e-5b1a4f8a8e4c" providerId="ADAL" clId="{F477AC39-6048-41EB-9B71-21E7E98C6418}" dt="2024-03-27T12:05:55.533" v="24" actId="948"/>
          <ac:spMkLst>
            <pc:docMk/>
            <pc:sldMk cId="1564989136" sldId="261"/>
            <ac:spMk id="1031" creationId="{B4420DF9-0817-52C4-B90D-28E3AC1828D5}"/>
          </ac:spMkLst>
        </pc:spChg>
        <pc:spChg chg="add mod">
          <ac:chgData name="Eugene Lugovskyi" userId="aace808c-87ce-48d4-891e-5b1a4f8a8e4c" providerId="ADAL" clId="{F477AC39-6048-41EB-9B71-21E7E98C6418}" dt="2024-03-27T14:14:40.391" v="355" actId="20577"/>
          <ac:spMkLst>
            <pc:docMk/>
            <pc:sldMk cId="1564989136" sldId="261"/>
            <ac:spMk id="1033" creationId="{7C0C5B4D-8983-081E-3CEB-58404847D6B1}"/>
          </ac:spMkLst>
        </pc:spChg>
        <pc:graphicFrameChg chg="add mod ord modVis replST">
          <ac:chgData name="Eugene Lugovskyi" userId="aace808c-87ce-48d4-891e-5b1a4f8a8e4c" providerId="ADAL" clId="{F477AC39-6048-41EB-9B71-21E7E98C6418}" dt="2024-03-27T12:05:55.583" v="49"/>
          <ac:graphicFrameMkLst>
            <pc:docMk/>
            <pc:sldMk cId="1564989136" sldId="261"/>
            <ac:graphicFrameMk id="5" creationId="{A8AC56C8-9E01-977F-7604-D500D3E4A366}"/>
          </ac:graphicFrameMkLst>
        </pc:graphicFrameChg>
        <pc:picChg chg="add mod modCrop">
          <ac:chgData name="Eugene Lugovskyi" userId="aace808c-87ce-48d4-891e-5b1a4f8a8e4c" providerId="ADAL" clId="{F477AC39-6048-41EB-9B71-21E7E98C6418}" dt="2024-03-27T12:03:11.401" v="22" actId="1076"/>
          <ac:picMkLst>
            <pc:docMk/>
            <pc:sldMk cId="1564989136" sldId="261"/>
            <ac:picMk id="1026" creationId="{628FB095-038B-9F9F-3518-6B1E4D1136EF}"/>
          </ac:picMkLst>
        </pc:picChg>
        <pc:cxnChg chg="add mod">
          <ac:chgData name="Eugene Lugovskyi" userId="aace808c-87ce-48d4-891e-5b1a4f8a8e4c" providerId="ADAL" clId="{F477AC39-6048-41EB-9B71-21E7E98C6418}" dt="2024-04-02T13:18:03.434" v="383" actId="14100"/>
          <ac:cxnSpMkLst>
            <pc:docMk/>
            <pc:sldMk cId="1564989136" sldId="261"/>
            <ac:cxnSpMk id="3" creationId="{4C6BC913-BD5D-2D35-E0E4-C6C5F1021CF6}"/>
          </ac:cxnSpMkLst>
        </pc:cxnChg>
        <pc:cxnChg chg="add mod">
          <ac:chgData name="Eugene Lugovskyi" userId="aace808c-87ce-48d4-891e-5b1a4f8a8e4c" providerId="ADAL" clId="{F477AC39-6048-41EB-9B71-21E7E98C6418}" dt="2024-03-27T13:05:24.356" v="60"/>
          <ac:cxnSpMkLst>
            <pc:docMk/>
            <pc:sldMk cId="1564989136" sldId="261"/>
            <ac:cxnSpMk id="7" creationId="{95E97D33-6AA8-9CC2-480C-19240F50E74D}"/>
          </ac:cxnSpMkLst>
        </pc:cxnChg>
      </pc:sldChg>
      <pc:sldChg chg="new add del">
        <pc:chgData name="Eugene Lugovskyi" userId="aace808c-87ce-48d4-891e-5b1a4f8a8e4c" providerId="ADAL" clId="{F477AC39-6048-41EB-9B71-21E7E98C6418}" dt="2024-03-27T13:10:24.875" v="65" actId="47"/>
        <pc:sldMkLst>
          <pc:docMk/>
          <pc:sldMk cId="3115268279" sldId="262"/>
        </pc:sldMkLst>
      </pc:sldChg>
      <pc:sldChg chg="addSp delSp modSp add mod">
        <pc:chgData name="Eugene Lugovskyi" userId="aace808c-87ce-48d4-891e-5b1a4f8a8e4c" providerId="ADAL" clId="{F477AC39-6048-41EB-9B71-21E7E98C6418}" dt="2024-04-02T13:33:42.276" v="925" actId="20577"/>
        <pc:sldMkLst>
          <pc:docMk/>
          <pc:sldMk cId="4252334391" sldId="263"/>
        </pc:sldMkLst>
        <pc:spChg chg="add del mod modVis">
          <ac:chgData name="Eugene Lugovskyi" userId="aace808c-87ce-48d4-891e-5b1a4f8a8e4c" providerId="ADAL" clId="{F477AC39-6048-41EB-9B71-21E7E98C6418}" dt="2024-03-27T13:27:44.235" v="98"/>
          <ac:spMkLst>
            <pc:docMk/>
            <pc:sldMk cId="4252334391" sldId="263"/>
            <ac:spMk id="2" creationId="{924A15ED-5A76-2098-F9F5-45295C222CB5}"/>
          </ac:spMkLst>
        </pc:spChg>
        <pc:spChg chg="add del mod modVis">
          <ac:chgData name="Eugene Lugovskyi" userId="aace808c-87ce-48d4-891e-5b1a4f8a8e4c" providerId="ADAL" clId="{F477AC39-6048-41EB-9B71-21E7E98C6418}" dt="2024-03-27T13:27:48.431" v="126"/>
          <ac:spMkLst>
            <pc:docMk/>
            <pc:sldMk cId="4252334391" sldId="263"/>
            <ac:spMk id="3" creationId="{C5496144-D9C0-894F-972B-222F42D23D27}"/>
          </ac:spMkLst>
        </pc:spChg>
        <pc:spChg chg="mod">
          <ac:chgData name="Eugene Lugovskyi" userId="aace808c-87ce-48d4-891e-5b1a4f8a8e4c" providerId="ADAL" clId="{F477AC39-6048-41EB-9B71-21E7E98C6418}" dt="2024-04-02T13:32:00.273" v="864" actId="20577"/>
          <ac:spMkLst>
            <pc:docMk/>
            <pc:sldMk cId="4252334391" sldId="263"/>
            <ac:spMk id="8" creationId="{AD92B197-0B3E-FE5A-87E6-FF4BE8EB60A9}"/>
          </ac:spMkLst>
        </pc:spChg>
        <pc:spChg chg="mod">
          <ac:chgData name="Eugene Lugovskyi" userId="aace808c-87ce-48d4-891e-5b1a4f8a8e4c" providerId="ADAL" clId="{F477AC39-6048-41EB-9B71-21E7E98C6418}" dt="2024-04-02T13:32:30.760" v="900" actId="20577"/>
          <ac:spMkLst>
            <pc:docMk/>
            <pc:sldMk cId="4252334391" sldId="263"/>
            <ac:spMk id="9" creationId="{7CC8067A-2722-1E6E-8E23-9F093E792482}"/>
          </ac:spMkLst>
        </pc:spChg>
        <pc:spChg chg="mod">
          <ac:chgData name="Eugene Lugovskyi" userId="aace808c-87ce-48d4-891e-5b1a4f8a8e4c" providerId="ADAL" clId="{F477AC39-6048-41EB-9B71-21E7E98C6418}" dt="2024-04-02T13:33:42.276" v="925" actId="20577"/>
          <ac:spMkLst>
            <pc:docMk/>
            <pc:sldMk cId="4252334391" sldId="263"/>
            <ac:spMk id="1031" creationId="{B4420DF9-0817-52C4-B90D-28E3AC1828D5}"/>
          </ac:spMkLst>
        </pc:spChg>
        <pc:spChg chg="mod">
          <ac:chgData name="Eugene Lugovskyi" userId="aace808c-87ce-48d4-891e-5b1a4f8a8e4c" providerId="ADAL" clId="{F477AC39-6048-41EB-9B71-21E7E98C6418}" dt="2024-03-27T13:27:40.501" v="69" actId="6549"/>
          <ac:spMkLst>
            <pc:docMk/>
            <pc:sldMk cId="4252334391" sldId="263"/>
            <ac:spMk id="1033" creationId="{7C0C5B4D-8983-081E-3CEB-58404847D6B1}"/>
          </ac:spMkLst>
        </pc:spChg>
        <pc:graphicFrameChg chg="mod">
          <ac:chgData name="Eugene Lugovskyi" userId="aace808c-87ce-48d4-891e-5b1a4f8a8e4c" providerId="ADAL" clId="{F477AC39-6048-41EB-9B71-21E7E98C6418}" dt="2024-03-27T13:27:48.437" v="128"/>
          <ac:graphicFrameMkLst>
            <pc:docMk/>
            <pc:sldMk cId="4252334391" sldId="263"/>
            <ac:graphicFrameMk id="5" creationId="{A8AC56C8-9E01-977F-7604-D500D3E4A366}"/>
          </ac:graphicFrameMkLst>
        </pc:graphicFrameChg>
      </pc:sldChg>
      <pc:sldChg chg="new del">
        <pc:chgData name="Eugene Lugovskyi" userId="aace808c-87ce-48d4-891e-5b1a4f8a8e4c" providerId="ADAL" clId="{F477AC39-6048-41EB-9B71-21E7E98C6418}" dt="2024-04-02T13:23:20.534" v="646" actId="47"/>
        <pc:sldMkLst>
          <pc:docMk/>
          <pc:sldMk cId="1994769592" sldId="264"/>
        </pc:sldMkLst>
      </pc:sldChg>
      <pc:sldChg chg="modSp add mod">
        <pc:chgData name="Eugene Lugovskyi" userId="aace808c-87ce-48d4-891e-5b1a4f8a8e4c" providerId="ADAL" clId="{F477AC39-6048-41EB-9B71-21E7E98C6418}" dt="2024-04-02T13:33:47.331" v="934" actId="20577"/>
        <pc:sldMkLst>
          <pc:docMk/>
          <pc:sldMk cId="2232809419" sldId="265"/>
        </pc:sldMkLst>
        <pc:spChg chg="mod">
          <ac:chgData name="Eugene Lugovskyi" userId="aace808c-87ce-48d4-891e-5b1a4f8a8e4c" providerId="ADAL" clId="{F477AC39-6048-41EB-9B71-21E7E98C6418}" dt="2024-04-02T13:33:27.668" v="912" actId="20577"/>
          <ac:spMkLst>
            <pc:docMk/>
            <pc:sldMk cId="2232809419" sldId="265"/>
            <ac:spMk id="8" creationId="{2FC7C576-D784-13CC-CB4B-AD5BBD2A0497}"/>
          </ac:spMkLst>
        </pc:spChg>
        <pc:spChg chg="mod">
          <ac:chgData name="Eugene Lugovskyi" userId="aace808c-87ce-48d4-891e-5b1a4f8a8e4c" providerId="ADAL" clId="{F477AC39-6048-41EB-9B71-21E7E98C6418}" dt="2024-04-02T13:33:16.983" v="911" actId="20577"/>
          <ac:spMkLst>
            <pc:docMk/>
            <pc:sldMk cId="2232809419" sldId="265"/>
            <ac:spMk id="9" creationId="{0FE447B4-783B-690B-90EF-900EAF003DD4}"/>
          </ac:spMkLst>
        </pc:spChg>
        <pc:spChg chg="mod">
          <ac:chgData name="Eugene Lugovskyi" userId="aace808c-87ce-48d4-891e-5b1a4f8a8e4c" providerId="ADAL" clId="{F477AC39-6048-41EB-9B71-21E7E98C6418}" dt="2024-04-02T13:33:47.331" v="934" actId="20577"/>
          <ac:spMkLst>
            <pc:docMk/>
            <pc:sldMk cId="2232809419" sldId="265"/>
            <ac:spMk id="1031" creationId="{3DF028F2-6356-1707-2D16-181D004BB392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rpor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72" t="5846" b="10563"/>
          <a:stretch/>
        </p:blipFill>
        <p:spPr>
          <a:xfrm>
            <a:off x="-28575" y="-28575"/>
            <a:ext cx="12275993" cy="5765854"/>
          </a:xfrm>
          <a:prstGeom prst="rect">
            <a:avLst/>
          </a:prstGeom>
        </p:spPr>
      </p:pic>
      <p:pic>
        <p:nvPicPr>
          <p:cNvPr id="8" name="Imag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859" y="698875"/>
            <a:ext cx="3083023" cy="1680342"/>
          </a:xfrm>
          <a:prstGeom prst="rect">
            <a:avLst/>
          </a:prstGeom>
        </p:spPr>
      </p:pic>
      <p:pic>
        <p:nvPicPr>
          <p:cNvPr id="9" name="Image 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79664"/>
            <a:ext cx="12192001" cy="3278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5052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21" name="Groupe 10"/>
            <p:cNvGrpSpPr/>
            <p:nvPr userDrawn="1"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24" name="Image 7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25" name="Image 6"/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26" name="Rectangle 25"/>
              <p:cNvSpPr/>
              <p:nvPr userDrawn="1"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22" name="Rectangle 21"/>
            <p:cNvSpPr/>
            <p:nvPr userDrawn="1"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1464640" y="1913709"/>
            <a:ext cx="4529760" cy="42124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069685" y="1913709"/>
            <a:ext cx="4529760" cy="42124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55DE5-5409-4036-9A01-A04BE6FC7A38}" type="datetimeFigureOut">
              <a:rPr lang="fr-BE" smtClean="0"/>
              <a:t>27-03-24</a:t>
            </a:fld>
            <a:endParaRPr lang="fr-BE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F9155E-4E4B-4267-8D28-F3A1CF8ADE5A}" type="slidenum">
              <a:rPr lang="fr-BE" smtClean="0"/>
              <a:t>‹#›</a:t>
            </a:fld>
            <a:endParaRPr lang="fr-BE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1464640" y="544151"/>
            <a:ext cx="9134805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447091" y="1250241"/>
            <a:ext cx="9152355" cy="37024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9326403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22" name="Groupe 10"/>
            <p:cNvGrpSpPr/>
            <p:nvPr userDrawn="1"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25" name="Image 7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26" name="Image 6"/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27" name="Rectangle 26"/>
              <p:cNvSpPr/>
              <p:nvPr userDrawn="1"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8" name="Rectangle 27"/>
              <p:cNvSpPr/>
              <p:nvPr userDrawn="1"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23" name="Rectangle 22"/>
            <p:cNvSpPr/>
            <p:nvPr userDrawn="1"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1464640" y="1412776"/>
            <a:ext cx="453187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464640" y="2174875"/>
            <a:ext cx="4531877" cy="3951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065789" y="1412776"/>
            <a:ext cx="453365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065789" y="2174875"/>
            <a:ext cx="4533657" cy="3951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55DE5-5409-4036-9A01-A04BE6FC7A38}" type="datetimeFigureOut">
              <a:rPr lang="fr-BE" smtClean="0"/>
              <a:t>27-03-24</a:t>
            </a:fld>
            <a:endParaRPr lang="fr-BE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F9155E-4E4B-4267-8D28-F3A1CF8ADE5A}" type="slidenum">
              <a:rPr lang="fr-BE" smtClean="0"/>
              <a:t>‹#›</a:t>
            </a:fld>
            <a:endParaRPr lang="fr-BE" dirty="0"/>
          </a:p>
        </p:txBody>
      </p:sp>
      <p:sp>
        <p:nvSpPr>
          <p:cNvPr id="16" name="Titre 1"/>
          <p:cNvSpPr>
            <a:spLocks noGrp="1"/>
          </p:cNvSpPr>
          <p:nvPr>
            <p:ph type="title" hasCustomPrompt="1"/>
          </p:nvPr>
        </p:nvSpPr>
        <p:spPr>
          <a:xfrm>
            <a:off x="1464640" y="544151"/>
            <a:ext cx="9134805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713361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22" name="Groupe 10"/>
            <p:cNvGrpSpPr/>
            <p:nvPr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25" name="Image 7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26" name="Image 6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27" name="Rectangle 26"/>
              <p:cNvSpPr/>
              <p:nvPr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8" name="Rectangle 27"/>
              <p:cNvSpPr/>
              <p:nvPr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23" name="Rectangle 22"/>
            <p:cNvSpPr/>
            <p:nvPr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24" name="Rectangle 23"/>
            <p:cNvSpPr/>
            <p:nvPr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464641" y="3189329"/>
            <a:ext cx="2207768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080901" y="3189329"/>
            <a:ext cx="2208635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18" name="Espace réservé du contenu 3"/>
          <p:cNvSpPr>
            <a:spLocks noGrp="1"/>
          </p:cNvSpPr>
          <p:nvPr>
            <p:ph sz="half" idx="13" hasCustomPrompt="1"/>
          </p:nvPr>
        </p:nvSpPr>
        <p:spPr>
          <a:xfrm>
            <a:off x="3772771" y="3189329"/>
            <a:ext cx="2207768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19" name="Espace réservé du contenu 5"/>
          <p:cNvSpPr>
            <a:spLocks noGrp="1"/>
          </p:cNvSpPr>
          <p:nvPr>
            <p:ph sz="quarter" idx="14" hasCustomPrompt="1"/>
          </p:nvPr>
        </p:nvSpPr>
        <p:spPr>
          <a:xfrm>
            <a:off x="8389897" y="3189329"/>
            <a:ext cx="2208635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32" name="Titre 1"/>
          <p:cNvSpPr txBox="1">
            <a:spLocks/>
          </p:cNvSpPr>
          <p:nvPr userDrawn="1"/>
        </p:nvSpPr>
        <p:spPr>
          <a:xfrm>
            <a:off x="9484658" y="544151"/>
            <a:ext cx="672353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 baseline="0">
                <a:solidFill>
                  <a:srgbClr val="00844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BE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1465784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774492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083200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8391907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itre 1"/>
          <p:cNvSpPr>
            <a:spLocks noGrp="1"/>
          </p:cNvSpPr>
          <p:nvPr>
            <p:ph type="title" hasCustomPrompt="1"/>
          </p:nvPr>
        </p:nvSpPr>
        <p:spPr>
          <a:xfrm>
            <a:off x="1464640" y="544151"/>
            <a:ext cx="9134805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11248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22" name="Groupe 10"/>
            <p:cNvGrpSpPr/>
            <p:nvPr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25" name="Image 7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26" name="Image 6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27" name="Rectangle 26"/>
              <p:cNvSpPr/>
              <p:nvPr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8" name="Rectangle 27"/>
              <p:cNvSpPr/>
              <p:nvPr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23" name="Rectangle 22"/>
            <p:cNvSpPr/>
            <p:nvPr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24" name="Rectangle 23"/>
            <p:cNvSpPr/>
            <p:nvPr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464641" y="3189329"/>
            <a:ext cx="2207768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842901" y="3189329"/>
            <a:ext cx="2208635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18" name="Espace réservé du contenu 3"/>
          <p:cNvSpPr>
            <a:spLocks noGrp="1"/>
          </p:cNvSpPr>
          <p:nvPr>
            <p:ph sz="half" idx="13" hasCustomPrompt="1"/>
          </p:nvPr>
        </p:nvSpPr>
        <p:spPr>
          <a:xfrm>
            <a:off x="4152333" y="1374775"/>
            <a:ext cx="2207768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19" name="Espace réservé du contenu 5"/>
          <p:cNvSpPr>
            <a:spLocks noGrp="1"/>
          </p:cNvSpPr>
          <p:nvPr>
            <p:ph sz="quarter" idx="14" hasCustomPrompt="1"/>
          </p:nvPr>
        </p:nvSpPr>
        <p:spPr>
          <a:xfrm>
            <a:off x="9532326" y="1374775"/>
            <a:ext cx="2208635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32" name="Titre 1"/>
          <p:cNvSpPr txBox="1">
            <a:spLocks/>
          </p:cNvSpPr>
          <p:nvPr userDrawn="1"/>
        </p:nvSpPr>
        <p:spPr>
          <a:xfrm>
            <a:off x="9484658" y="544151"/>
            <a:ext cx="672353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 baseline="0">
                <a:solidFill>
                  <a:srgbClr val="00844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BE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1465784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4154054" y="4987823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845200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534336" y="4987823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926809" y="1374775"/>
            <a:ext cx="0" cy="530373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6616221" y="1374775"/>
            <a:ext cx="0" cy="530373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9296668" y="1374775"/>
            <a:ext cx="0" cy="530373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464640" y="544151"/>
            <a:ext cx="9134805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688492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22" name="Groupe 10"/>
            <p:cNvGrpSpPr/>
            <p:nvPr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25" name="Image 7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26" name="Image 6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27" name="Rectangle 26"/>
              <p:cNvSpPr/>
              <p:nvPr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8" name="Rectangle 27"/>
              <p:cNvSpPr/>
              <p:nvPr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23" name="Rectangle 22"/>
            <p:cNvSpPr/>
            <p:nvPr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24" name="Rectangle 23"/>
            <p:cNvSpPr/>
            <p:nvPr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464641" y="3189329"/>
            <a:ext cx="2207768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18" name="Espace réservé du contenu 3"/>
          <p:cNvSpPr>
            <a:spLocks noGrp="1"/>
          </p:cNvSpPr>
          <p:nvPr>
            <p:ph sz="half" idx="13" hasCustomPrompt="1"/>
          </p:nvPr>
        </p:nvSpPr>
        <p:spPr>
          <a:xfrm>
            <a:off x="4152333" y="3227835"/>
            <a:ext cx="2207768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19" name="Espace réservé du contenu 5"/>
          <p:cNvSpPr>
            <a:spLocks noGrp="1"/>
          </p:cNvSpPr>
          <p:nvPr>
            <p:ph sz="quarter" idx="14" hasCustomPrompt="1"/>
          </p:nvPr>
        </p:nvSpPr>
        <p:spPr>
          <a:xfrm>
            <a:off x="9152966" y="1374775"/>
            <a:ext cx="2587996" cy="1690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32" name="Titre 1"/>
          <p:cNvSpPr txBox="1">
            <a:spLocks/>
          </p:cNvSpPr>
          <p:nvPr userDrawn="1"/>
        </p:nvSpPr>
        <p:spPr>
          <a:xfrm>
            <a:off x="9484658" y="544151"/>
            <a:ext cx="672353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 baseline="0">
                <a:solidFill>
                  <a:srgbClr val="00844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BE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1465784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4154054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845200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926809" y="1374775"/>
            <a:ext cx="0" cy="530373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6616221" y="1374775"/>
            <a:ext cx="0" cy="530373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Espace réservé du contenu 5"/>
          <p:cNvSpPr>
            <a:spLocks noGrp="1"/>
          </p:cNvSpPr>
          <p:nvPr>
            <p:ph sz="quarter" idx="22" hasCustomPrompt="1"/>
          </p:nvPr>
        </p:nvSpPr>
        <p:spPr>
          <a:xfrm>
            <a:off x="9152965" y="3173932"/>
            <a:ext cx="2587996" cy="1690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3"/>
          </p:nvPr>
        </p:nvSpPr>
        <p:spPr>
          <a:xfrm>
            <a:off x="6845199" y="3173932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Espace réservé du contenu 5"/>
          <p:cNvSpPr>
            <a:spLocks noGrp="1"/>
          </p:cNvSpPr>
          <p:nvPr>
            <p:ph sz="quarter" idx="24" hasCustomPrompt="1"/>
          </p:nvPr>
        </p:nvSpPr>
        <p:spPr>
          <a:xfrm>
            <a:off x="9152965" y="4972426"/>
            <a:ext cx="2587996" cy="1690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5"/>
          </p:nvPr>
        </p:nvSpPr>
        <p:spPr>
          <a:xfrm>
            <a:off x="6845199" y="4972426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itre 1"/>
          <p:cNvSpPr>
            <a:spLocks noGrp="1"/>
          </p:cNvSpPr>
          <p:nvPr>
            <p:ph type="title" hasCustomPrompt="1"/>
          </p:nvPr>
        </p:nvSpPr>
        <p:spPr>
          <a:xfrm>
            <a:off x="1464640" y="544151"/>
            <a:ext cx="9134805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15601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22" name="Groupe 10"/>
            <p:cNvGrpSpPr/>
            <p:nvPr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25" name="Image 7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26" name="Image 6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27" name="Rectangle 26"/>
              <p:cNvSpPr/>
              <p:nvPr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8" name="Rectangle 27"/>
              <p:cNvSpPr/>
              <p:nvPr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23" name="Rectangle 22"/>
            <p:cNvSpPr/>
            <p:nvPr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24" name="Rectangle 23"/>
            <p:cNvSpPr/>
            <p:nvPr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464641" y="3189329"/>
            <a:ext cx="4909929" cy="3489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19" name="Espace réservé du contenu 5"/>
          <p:cNvSpPr>
            <a:spLocks noGrp="1"/>
          </p:cNvSpPr>
          <p:nvPr>
            <p:ph sz="quarter" idx="14" hasCustomPrompt="1"/>
          </p:nvPr>
        </p:nvSpPr>
        <p:spPr>
          <a:xfrm>
            <a:off x="9152966" y="1374775"/>
            <a:ext cx="2587996" cy="1690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32" name="Titre 1"/>
          <p:cNvSpPr txBox="1">
            <a:spLocks/>
          </p:cNvSpPr>
          <p:nvPr userDrawn="1"/>
        </p:nvSpPr>
        <p:spPr>
          <a:xfrm>
            <a:off x="9484658" y="544151"/>
            <a:ext cx="672353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 baseline="0">
                <a:solidFill>
                  <a:srgbClr val="00844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BE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1465784" y="1374775"/>
            <a:ext cx="4921459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845200" y="1374775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616221" y="1374775"/>
            <a:ext cx="0" cy="530373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Espace réservé du contenu 5"/>
          <p:cNvSpPr>
            <a:spLocks noGrp="1"/>
          </p:cNvSpPr>
          <p:nvPr>
            <p:ph sz="quarter" idx="22" hasCustomPrompt="1"/>
          </p:nvPr>
        </p:nvSpPr>
        <p:spPr>
          <a:xfrm>
            <a:off x="9152965" y="3173932"/>
            <a:ext cx="2587996" cy="1690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3"/>
          </p:nvPr>
        </p:nvSpPr>
        <p:spPr>
          <a:xfrm>
            <a:off x="6845199" y="3173932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Espace réservé du contenu 5"/>
          <p:cNvSpPr>
            <a:spLocks noGrp="1"/>
          </p:cNvSpPr>
          <p:nvPr>
            <p:ph sz="quarter" idx="24" hasCustomPrompt="1"/>
          </p:nvPr>
        </p:nvSpPr>
        <p:spPr>
          <a:xfrm>
            <a:off x="9152965" y="4972426"/>
            <a:ext cx="2587996" cy="1690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err="1"/>
              <a:t>Text</a:t>
            </a:r>
            <a:endParaRPr lang="fr-BE" dirty="0"/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5"/>
          </p:nvPr>
        </p:nvSpPr>
        <p:spPr>
          <a:xfrm>
            <a:off x="6845199" y="4972426"/>
            <a:ext cx="2206625" cy="16906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1464640" y="545123"/>
            <a:ext cx="91338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dirty="0">
                <a:solidFill>
                  <a:schemeClr val="accent1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024527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17" name="Groupe 10"/>
            <p:cNvGrpSpPr/>
            <p:nvPr userDrawn="1"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20" name="Image 7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21" name="Image 6"/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22" name="Rectangle 21"/>
              <p:cNvSpPr/>
              <p:nvPr userDrawn="1"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3" name="Rectangle 22"/>
              <p:cNvSpPr/>
              <p:nvPr userDrawn="1"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18" name="Rectangle 17"/>
            <p:cNvSpPr/>
            <p:nvPr userDrawn="1"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55DE5-5409-4036-9A01-A04BE6FC7A38}" type="datetimeFigureOut">
              <a:rPr lang="fr-BE" smtClean="0"/>
              <a:t>27-03-24</a:t>
            </a:fld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F9155E-4E4B-4267-8D28-F3A1CF8ADE5A}" type="slidenum">
              <a:rPr lang="fr-BE" smtClean="0"/>
              <a:t>‹#›</a:t>
            </a:fld>
            <a:endParaRPr lang="fr-BE" dirty="0"/>
          </a:p>
        </p:txBody>
      </p:sp>
      <p:sp>
        <p:nvSpPr>
          <p:cNvPr id="6" name="Titre 1"/>
          <p:cNvSpPr>
            <a:spLocks noGrp="1"/>
          </p:cNvSpPr>
          <p:nvPr>
            <p:ph type="title" hasCustomPrompt="1"/>
          </p:nvPr>
        </p:nvSpPr>
        <p:spPr>
          <a:xfrm>
            <a:off x="1464640" y="544151"/>
            <a:ext cx="9134805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912108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4307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rpor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3321"/>
          <a:stretch/>
        </p:blipFill>
        <p:spPr>
          <a:xfrm>
            <a:off x="1" y="-27384"/>
            <a:ext cx="12192000" cy="6912768"/>
          </a:xfrm>
          <a:prstGeom prst="rect">
            <a:avLst/>
          </a:prstGeom>
        </p:spPr>
      </p:pic>
      <p:pic>
        <p:nvPicPr>
          <p:cNvPr id="8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859" y="698875"/>
            <a:ext cx="3083023" cy="1680342"/>
          </a:xfrm>
          <a:prstGeom prst="rect">
            <a:avLst/>
          </a:prstGeom>
        </p:spPr>
      </p:pic>
      <p:pic>
        <p:nvPicPr>
          <p:cNvPr id="9" name="Imag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79664"/>
            <a:ext cx="12192001" cy="3278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00292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ountains/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5638799"/>
          </a:xfrm>
          <a:prstGeom prst="rect">
            <a:avLst/>
          </a:prstGeom>
        </p:spPr>
      </p:pic>
      <p:pic>
        <p:nvPicPr>
          <p:cNvPr id="8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859" y="698875"/>
            <a:ext cx="3083023" cy="1680342"/>
          </a:xfrm>
          <a:prstGeom prst="rect">
            <a:avLst/>
          </a:prstGeom>
        </p:spPr>
      </p:pic>
      <p:pic>
        <p:nvPicPr>
          <p:cNvPr id="9" name="Imag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79664"/>
            <a:ext cx="12192001" cy="3278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08848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per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84744" cy="5638799"/>
          </a:xfrm>
          <a:prstGeom prst="rect">
            <a:avLst/>
          </a:prstGeom>
        </p:spPr>
      </p:pic>
      <p:pic>
        <p:nvPicPr>
          <p:cNvPr id="8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859" y="698875"/>
            <a:ext cx="3083023" cy="1680342"/>
          </a:xfrm>
          <a:prstGeom prst="rect">
            <a:avLst/>
          </a:prstGeom>
        </p:spPr>
      </p:pic>
      <p:pic>
        <p:nvPicPr>
          <p:cNvPr id="9" name="Imag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79664"/>
            <a:ext cx="12192001" cy="3278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7829127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olec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5638799"/>
          </a:xfrm>
          <a:prstGeom prst="rect">
            <a:avLst/>
          </a:prstGeom>
        </p:spPr>
      </p:pic>
      <p:pic>
        <p:nvPicPr>
          <p:cNvPr id="8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859" y="698875"/>
            <a:ext cx="3083023" cy="1680342"/>
          </a:xfrm>
          <a:prstGeom prst="rect">
            <a:avLst/>
          </a:prstGeom>
        </p:spPr>
      </p:pic>
      <p:pic>
        <p:nvPicPr>
          <p:cNvPr id="9" name="Imag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79664"/>
            <a:ext cx="12192001" cy="3278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700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g S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27384"/>
            <a:ext cx="12192001" cy="6912768"/>
          </a:xfrm>
          <a:prstGeom prst="rect">
            <a:avLst/>
          </a:prstGeom>
        </p:spPr>
      </p:pic>
      <p:pic>
        <p:nvPicPr>
          <p:cNvPr id="8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859" y="698875"/>
            <a:ext cx="3083023" cy="1680342"/>
          </a:xfrm>
          <a:prstGeom prst="rect">
            <a:avLst/>
          </a:prstGeom>
        </p:spPr>
      </p:pic>
      <p:pic>
        <p:nvPicPr>
          <p:cNvPr id="9" name="Imag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79664"/>
            <a:ext cx="12192001" cy="3278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24211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g Citr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7384"/>
            <a:ext cx="12192000" cy="5666184"/>
          </a:xfrm>
          <a:prstGeom prst="rect">
            <a:avLst/>
          </a:prstGeom>
        </p:spPr>
      </p:pic>
      <p:pic>
        <p:nvPicPr>
          <p:cNvPr id="8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859" y="698875"/>
            <a:ext cx="3083023" cy="1680342"/>
          </a:xfrm>
          <a:prstGeom prst="rect">
            <a:avLst/>
          </a:prstGeom>
        </p:spPr>
      </p:pic>
      <p:pic>
        <p:nvPicPr>
          <p:cNvPr id="9" name="Imag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79664"/>
            <a:ext cx="12192001" cy="3278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77348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Ha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001" cy="6853989"/>
          </a:xfrm>
          <a:prstGeom prst="rect">
            <a:avLst/>
          </a:prstGeom>
        </p:spPr>
      </p:pic>
      <p:pic>
        <p:nvPicPr>
          <p:cNvPr id="5" name="Imag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638434"/>
            <a:ext cx="12192001" cy="3278336"/>
          </a:xfrm>
          <a:prstGeom prst="rect">
            <a:avLst/>
          </a:prstGeom>
        </p:spPr>
      </p:pic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4903787"/>
            <a:ext cx="10363200" cy="6588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094964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2" y="0"/>
            <a:ext cx="2279578" cy="6861278"/>
            <a:chOff x="-24684" y="0"/>
            <a:chExt cx="2244413" cy="6813376"/>
          </a:xfrm>
        </p:grpSpPr>
        <p:grpSp>
          <p:nvGrpSpPr>
            <p:cNvPr id="14" name="Groupe 10"/>
            <p:cNvGrpSpPr/>
            <p:nvPr userDrawn="1"/>
          </p:nvGrpSpPr>
          <p:grpSpPr>
            <a:xfrm flipH="1">
              <a:off x="-24684" y="0"/>
              <a:ext cx="2244413" cy="6813376"/>
              <a:chOff x="7258685" y="-27383"/>
              <a:chExt cx="2244413" cy="6840760"/>
            </a:xfrm>
          </p:grpSpPr>
          <p:pic>
            <p:nvPicPr>
              <p:cNvPr id="17" name="Image 7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94162" y="-27383"/>
                <a:ext cx="1708936" cy="6837492"/>
              </a:xfrm>
              <a:prstGeom prst="rect">
                <a:avLst/>
              </a:prstGeom>
            </p:spPr>
          </p:pic>
          <p:pic>
            <p:nvPicPr>
              <p:cNvPr id="18" name="Image 6"/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5091421" y="2791818"/>
                <a:ext cx="6840760" cy="1202358"/>
              </a:xfrm>
              <a:prstGeom prst="rect">
                <a:avLst/>
              </a:prstGeom>
            </p:spPr>
          </p:pic>
          <p:sp>
            <p:nvSpPr>
              <p:cNvPr id="19" name="Rectangle 18"/>
              <p:cNvSpPr/>
              <p:nvPr userDrawn="1"/>
            </p:nvSpPr>
            <p:spPr>
              <a:xfrm rot="20762858">
                <a:off x="7258685" y="218640"/>
                <a:ext cx="1191285" cy="3903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20" name="Rectangle 19"/>
              <p:cNvSpPr/>
              <p:nvPr userDrawn="1"/>
            </p:nvSpPr>
            <p:spPr>
              <a:xfrm rot="11610745">
                <a:off x="7527266" y="3093800"/>
                <a:ext cx="960235" cy="34718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21" name="Rectangle 20"/>
            <p:cNvSpPr/>
            <p:nvPr userDrawn="1"/>
          </p:nvSpPr>
          <p:spPr>
            <a:xfrm rot="5400000" flipH="1">
              <a:off x="1522737" y="-239072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 flipH="1">
              <a:off x="1444717" y="6139226"/>
              <a:ext cx="405727" cy="9058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464640" y="544151"/>
            <a:ext cx="9134805" cy="7060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0">
                <a:solidFill>
                  <a:srgbClr val="008442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F9155E-4E4B-4267-8D28-F3A1CF8ADE5A}" type="slidenum">
              <a:rPr lang="fr-BE" smtClean="0"/>
              <a:t>‹#›</a:t>
            </a:fld>
            <a:endParaRPr lang="fr-BE" dirty="0"/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447091" y="1250241"/>
            <a:ext cx="9152355" cy="37024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032000" y="2564904"/>
            <a:ext cx="2815861" cy="9769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 dirty="0"/>
          </a:p>
        </p:txBody>
      </p:sp>
      <p:sp>
        <p:nvSpPr>
          <p:cNvPr id="16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447091" y="1913709"/>
            <a:ext cx="9134805" cy="42124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008442"/>
              </a:buClr>
              <a:defRPr sz="2000"/>
            </a:lvl1pPr>
            <a:lvl2pPr>
              <a:defRPr sz="1800"/>
            </a:lvl2pPr>
            <a:lvl3pPr>
              <a:buClr>
                <a:srgbClr val="008442"/>
              </a:buCl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Text</a:t>
            </a:r>
          </a:p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55DE5-5409-4036-9A01-A04BE6FC7A38}" type="datetimeFigureOut">
              <a:rPr lang="fr-BE" smtClean="0"/>
              <a:t>27-03-24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035224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568D46-F173-464A-AA8D-DC1F4FB2C4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34191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38" imgH="338" progId="TCLayout.ActiveDocument.1">
                  <p:embed/>
                </p:oleObj>
              </mc:Choice>
              <mc:Fallback>
                <p:oleObj name="think-cell Slide" r:id="rId20" imgW="338" imgH="33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68D46-F173-464A-AA8D-DC1F4FB2C4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655DE5-5409-4036-9A01-A04BE6FC7A38}" type="datetimeFigureOut">
              <a:rPr lang="fr-BE" smtClean="0"/>
              <a:t>27-03-24</a:t>
            </a:fld>
            <a:endParaRPr lang="fr-BE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F9155E-4E4B-4267-8D28-F3A1CF8ADE5A}" type="slidenum">
              <a:rPr lang="fr-BE" smtClean="0"/>
              <a:t>‹#›</a:t>
            </a:fld>
            <a:endParaRPr lang="fr-BE" dirty="0"/>
          </a:p>
        </p:txBody>
      </p:sp>
      <p:pic>
        <p:nvPicPr>
          <p:cNvPr id="7" name="Image 3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509" y="304800"/>
            <a:ext cx="97866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561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1" r:id="rId2"/>
    <p:sldLayoutId id="2147483662" r:id="rId3"/>
    <p:sldLayoutId id="2147483649" r:id="rId4"/>
    <p:sldLayoutId id="2147483664" r:id="rId5"/>
    <p:sldLayoutId id="2147483656" r:id="rId6"/>
    <p:sldLayoutId id="2147483663" r:id="rId7"/>
    <p:sldLayoutId id="2147483651" r:id="rId8"/>
    <p:sldLayoutId id="2147483650" r:id="rId9"/>
    <p:sldLayoutId id="2147483652" r:id="rId10"/>
    <p:sldLayoutId id="2147483653" r:id="rId11"/>
    <p:sldLayoutId id="2147483657" r:id="rId12"/>
    <p:sldLayoutId id="2147483658" r:id="rId13"/>
    <p:sldLayoutId id="2147483659" r:id="rId14"/>
    <p:sldLayoutId id="2147483660" r:id="rId15"/>
    <p:sldLayoutId id="2147483654" r:id="rId16"/>
    <p:sldLayoutId id="2147483665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5" Type="http://schemas.openxmlformats.org/officeDocument/2006/relationships/image" Target="../media/image16.jpeg"/><Relationship Id="rId4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5" Type="http://schemas.openxmlformats.org/officeDocument/2006/relationships/image" Target="../media/image16.jpeg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93BF453-67F6-4195-A2B0-CE711C4DFA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434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3BF453-67F6-4195-A2B0-CE711C4DF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0A47F-4D19-46A8-8FF8-A4EA9FBC99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uk-UA" dirty="0"/>
              <a:t>Внесення </a:t>
            </a:r>
            <a:r>
              <a:rPr lang="de-DE" dirty="0"/>
              <a:t>KTS®</a:t>
            </a:r>
            <a:r>
              <a:rPr lang="uk-UA" dirty="0"/>
              <a:t> та </a:t>
            </a:r>
            <a:r>
              <a:rPr lang="en-GB" dirty="0" err="1"/>
              <a:t>CaTs</a:t>
            </a:r>
            <a:r>
              <a:rPr lang="de-DE" dirty="0"/>
              <a:t>® 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95248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8AC56C8-9E01-977F-7604-D500D3E4A3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331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AC56C8-9E01-977F-7604-D500D3E4A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itle 1">
            <a:extLst>
              <a:ext uri="{FF2B5EF4-FFF2-40B4-BE49-F238E27FC236}">
                <a16:creationId xmlns:a16="http://schemas.microsoft.com/office/drawing/2014/main" id="{B4420DF9-0817-52C4-B90D-28E3AC182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4640" y="544151"/>
            <a:ext cx="9134805" cy="706090"/>
          </a:xfrm>
        </p:spPr>
        <p:txBody>
          <a:bodyPr vert="horz"/>
          <a:lstStyle/>
          <a:p>
            <a:r>
              <a:rPr lang="ru-RU" dirty="0"/>
              <a:t>Технолог</a:t>
            </a:r>
            <a:r>
              <a:rPr lang="uk-UA" dirty="0"/>
              <a:t>ія з </a:t>
            </a:r>
            <a:r>
              <a:rPr lang="nl-BE" dirty="0" err="1"/>
              <a:t>CaTs</a:t>
            </a:r>
            <a:r>
              <a:rPr lang="de-DE" dirty="0"/>
              <a:t>®</a:t>
            </a:r>
            <a:endParaRPr lang="en-US" dirty="0"/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7C0C5B4D-8983-081E-3CEB-58404847D6B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47091" y="1250241"/>
            <a:ext cx="9152355" cy="370249"/>
          </a:xfrm>
        </p:spPr>
        <p:txBody>
          <a:bodyPr/>
          <a:lstStyle/>
          <a:p>
            <a:r>
              <a:rPr lang="ru-RU" dirty="0"/>
              <a:t>Внесення з поливом / листове внесення  </a:t>
            </a:r>
            <a:endParaRPr lang="en-US" dirty="0"/>
          </a:p>
        </p:txBody>
      </p:sp>
      <p:pic>
        <p:nvPicPr>
          <p:cNvPr id="1026" name="Picture 2" descr="Growth stages of melon plant. Vector illustration. Cucumis melo. Melon  cantaloupe life cycle. On white background. Stock Vector by ©ilyakalinin  249942150">
            <a:extLst>
              <a:ext uri="{FF2B5EF4-FFF2-40B4-BE49-F238E27FC236}">
                <a16:creationId xmlns:a16="http://schemas.microsoft.com/office/drawing/2014/main" id="{628FB095-038B-9F9F-3518-6B1E4D1136E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407"/>
          <a:stretch/>
        </p:blipFill>
        <p:spPr bwMode="auto">
          <a:xfrm>
            <a:off x="1399061" y="1828800"/>
            <a:ext cx="9134805" cy="2367836"/>
          </a:xfrm>
          <a:prstGeom prst="rect">
            <a:avLst/>
          </a:prstGeom>
          <a:solidFill>
            <a:srgbClr val="FFFFFF"/>
          </a:solidFill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5E97D33-6AA8-9CC2-480C-19240F50E74D}"/>
              </a:ext>
            </a:extLst>
          </p:cNvPr>
          <p:cNvCxnSpPr>
            <a:cxnSpLocks/>
          </p:cNvCxnSpPr>
          <p:nvPr/>
        </p:nvCxnSpPr>
        <p:spPr>
          <a:xfrm>
            <a:off x="5867400" y="4368269"/>
            <a:ext cx="0" cy="188013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D92B197-0B3E-FE5A-87E6-FF4BE8EB60A9}"/>
              </a:ext>
            </a:extLst>
          </p:cNvPr>
          <p:cNvSpPr txBox="1"/>
          <p:nvPr/>
        </p:nvSpPr>
        <p:spPr>
          <a:xfrm>
            <a:off x="978888" y="4495800"/>
            <a:ext cx="4952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Внесення з поливом: </a:t>
            </a:r>
          </a:p>
          <a:p>
            <a:r>
              <a:rPr lang="ru-RU" sz="1400" dirty="0"/>
              <a:t>Три внесення  по 20 л-30л (всього до 90 л /га)</a:t>
            </a:r>
          </a:p>
          <a:p>
            <a:pPr marL="285750" indent="-285750">
              <a:buFontTx/>
              <a:buChar char="-"/>
            </a:pPr>
            <a:r>
              <a:rPr lang="uk-UA" sz="1400" dirty="0"/>
              <a:t>Відразу після посіву 20-30 л/га </a:t>
            </a:r>
            <a:endParaRPr lang="ru-RU" sz="1400" dirty="0"/>
          </a:p>
          <a:p>
            <a:pPr marL="285750" indent="-285750">
              <a:buFontTx/>
              <a:buChar char="-"/>
            </a:pPr>
            <a:r>
              <a:rPr lang="uk-UA" sz="1400" dirty="0"/>
              <a:t>Друге внесення з початком формування плодів</a:t>
            </a:r>
            <a:r>
              <a:rPr lang="ru-RU" sz="1400" dirty="0"/>
              <a:t> 20-30 л/га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2 тижні після 1 внесення 20-30 л/га</a:t>
            </a:r>
          </a:p>
          <a:p>
            <a:endParaRPr lang="de-DE" sz="1400" dirty="0"/>
          </a:p>
          <a:p>
            <a:br>
              <a:rPr lang="de-DE" sz="1400" dirty="0"/>
            </a:br>
            <a:r>
              <a:rPr lang="uk-UA" sz="1400" dirty="0"/>
              <a:t>Після внесення зробити полив чистою водою </a:t>
            </a:r>
            <a:endParaRPr lang="nl-BE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C8067A-2722-1E6E-8E23-9F093E792482}"/>
              </a:ext>
            </a:extLst>
          </p:cNvPr>
          <p:cNvSpPr txBox="1"/>
          <p:nvPr/>
        </p:nvSpPr>
        <p:spPr>
          <a:xfrm>
            <a:off x="5996374" y="4495800"/>
            <a:ext cx="4059766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Внесення по листу : (на 200 л води)</a:t>
            </a:r>
          </a:p>
          <a:p>
            <a:r>
              <a:rPr lang="ru-RU" sz="1400" dirty="0"/>
              <a:t>Два внесення по 5 л/га (всього максимум 15 л /га) </a:t>
            </a:r>
          </a:p>
          <a:p>
            <a:r>
              <a:rPr lang="ru-RU" sz="1400" dirty="0"/>
              <a:t> 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Перше внесення фомування плодів-5 л/га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2 тижні після 1 внесення  - 5 л/га</a:t>
            </a:r>
          </a:p>
          <a:p>
            <a:endParaRPr lang="uk-UA" sz="1400" dirty="0"/>
          </a:p>
          <a:p>
            <a:r>
              <a:rPr lang="uk-UA" sz="1400" dirty="0"/>
              <a:t>Можна змішувати з фунгіцидам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25233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35C5D2-E79B-C479-7B48-D93EC5A3EA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AF8D26-500B-4526-706F-89F7F70F8B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AF8D26-500B-4526-706F-89F7F70F8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itle 1">
            <a:extLst>
              <a:ext uri="{FF2B5EF4-FFF2-40B4-BE49-F238E27FC236}">
                <a16:creationId xmlns:a16="http://schemas.microsoft.com/office/drawing/2014/main" id="{3DF028F2-6356-1707-2D16-181D004BB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4640" y="544151"/>
            <a:ext cx="9134805" cy="706090"/>
          </a:xfrm>
        </p:spPr>
        <p:txBody>
          <a:bodyPr vert="horz"/>
          <a:lstStyle/>
          <a:p>
            <a:r>
              <a:rPr lang="ru-RU" dirty="0"/>
              <a:t>Технолог</a:t>
            </a:r>
            <a:r>
              <a:rPr lang="uk-UA" dirty="0"/>
              <a:t>ія </a:t>
            </a:r>
            <a:r>
              <a:rPr lang="uk-UA"/>
              <a:t>з </a:t>
            </a:r>
            <a:r>
              <a:rPr lang="nl-BE"/>
              <a:t>KTS</a:t>
            </a:r>
            <a:r>
              <a:rPr lang="de-DE"/>
              <a:t>®</a:t>
            </a:r>
            <a:endParaRPr lang="en-US" dirty="0"/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26CBC961-9C9E-0324-BDCD-9A39AA72495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47091" y="1250241"/>
            <a:ext cx="9152355" cy="370249"/>
          </a:xfrm>
        </p:spPr>
        <p:txBody>
          <a:bodyPr/>
          <a:lstStyle/>
          <a:p>
            <a:r>
              <a:rPr lang="ru-RU" dirty="0"/>
              <a:t>Внесення з поливом / листове внесення  </a:t>
            </a:r>
            <a:endParaRPr lang="en-US" dirty="0"/>
          </a:p>
        </p:txBody>
      </p:sp>
      <p:pic>
        <p:nvPicPr>
          <p:cNvPr id="1026" name="Picture 2" descr="Growth stages of melon plant. Vector illustration. Cucumis melo. Melon  cantaloupe life cycle. On white background. Stock Vector by ©ilyakalinin  249942150">
            <a:extLst>
              <a:ext uri="{FF2B5EF4-FFF2-40B4-BE49-F238E27FC236}">
                <a16:creationId xmlns:a16="http://schemas.microsoft.com/office/drawing/2014/main" id="{C973C13B-F87A-C2DF-1DDD-DDA77AFFAAF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407"/>
          <a:stretch/>
        </p:blipFill>
        <p:spPr bwMode="auto">
          <a:xfrm>
            <a:off x="1399061" y="1828800"/>
            <a:ext cx="9134805" cy="2367836"/>
          </a:xfrm>
          <a:prstGeom prst="rect">
            <a:avLst/>
          </a:prstGeom>
          <a:solidFill>
            <a:srgbClr val="FFFFFF"/>
          </a:solidFill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3416A9C-2EAA-C55A-2FF4-BCC8CAAED563}"/>
              </a:ext>
            </a:extLst>
          </p:cNvPr>
          <p:cNvCxnSpPr>
            <a:cxnSpLocks/>
          </p:cNvCxnSpPr>
          <p:nvPr/>
        </p:nvCxnSpPr>
        <p:spPr>
          <a:xfrm>
            <a:off x="5867400" y="4368269"/>
            <a:ext cx="0" cy="188013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FC7C576-D784-13CC-CB4B-AD5BBD2A0497}"/>
              </a:ext>
            </a:extLst>
          </p:cNvPr>
          <p:cNvSpPr txBox="1"/>
          <p:nvPr/>
        </p:nvSpPr>
        <p:spPr>
          <a:xfrm>
            <a:off x="978888" y="4495800"/>
            <a:ext cx="4952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Внесення з поливом: </a:t>
            </a:r>
          </a:p>
          <a:p>
            <a:r>
              <a:rPr lang="ru-RU" sz="1400" dirty="0"/>
              <a:t>Три внесення  по 10-20 л (всього до 50 л /га)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Перше внесення </a:t>
            </a:r>
            <a:r>
              <a:rPr lang="uk-UA" sz="1400" dirty="0"/>
              <a:t>на початку цвітіння</a:t>
            </a:r>
            <a:r>
              <a:rPr lang="ru-RU" sz="1400" dirty="0"/>
              <a:t> 10-20 л/га</a:t>
            </a:r>
          </a:p>
          <a:p>
            <a:pPr marL="285750" indent="-285750">
              <a:buFontTx/>
              <a:buChar char="-"/>
            </a:pPr>
            <a:r>
              <a:rPr lang="uk-UA" sz="1400" dirty="0"/>
              <a:t>Друге внесення з початком формування плодів</a:t>
            </a:r>
            <a:r>
              <a:rPr lang="ru-RU" sz="1400" dirty="0"/>
              <a:t> 15-20 л/га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2 тижні після 1 внесення 15-20 л/га</a:t>
            </a:r>
          </a:p>
          <a:p>
            <a:endParaRPr lang="de-DE" sz="1400" dirty="0"/>
          </a:p>
          <a:p>
            <a:br>
              <a:rPr lang="de-DE" sz="1400" dirty="0"/>
            </a:br>
            <a:r>
              <a:rPr lang="uk-UA" sz="1400" dirty="0"/>
              <a:t>Після внесення зробити полив чистою водою </a:t>
            </a:r>
            <a:endParaRPr lang="nl-BE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E447B4-783B-690B-90EF-900EAF003DD4}"/>
              </a:ext>
            </a:extLst>
          </p:cNvPr>
          <p:cNvSpPr txBox="1"/>
          <p:nvPr/>
        </p:nvSpPr>
        <p:spPr>
          <a:xfrm>
            <a:off x="5996374" y="4495800"/>
            <a:ext cx="4205638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Внесення по листу : (на 200 л води)</a:t>
            </a:r>
          </a:p>
          <a:p>
            <a:r>
              <a:rPr lang="ru-RU" sz="1400" dirty="0"/>
              <a:t>Два внесення по 5-7 л/га (всього максимум 15 л /га) </a:t>
            </a:r>
          </a:p>
          <a:p>
            <a:r>
              <a:rPr lang="ru-RU" sz="1400" dirty="0"/>
              <a:t> 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Перше внесення фомування плодів-5-7 л/га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2 тижні після 1 внесення  - 5-7 л/га</a:t>
            </a:r>
          </a:p>
          <a:p>
            <a:endParaRPr lang="uk-UA" sz="1400" dirty="0"/>
          </a:p>
          <a:p>
            <a:r>
              <a:rPr lang="uk-UA" sz="1400" dirty="0"/>
              <a:t>Можна змішувати з фунгіцидам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232809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399" y="4953000"/>
            <a:ext cx="10363200" cy="517143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585209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KI colors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843D"/>
      </a:accent1>
      <a:accent2>
        <a:srgbClr val="4A4A4A"/>
      </a:accent2>
      <a:accent3>
        <a:srgbClr val="00843D"/>
      </a:accent3>
      <a:accent4>
        <a:srgbClr val="000000"/>
      </a:accent4>
      <a:accent5>
        <a:srgbClr val="00843D"/>
      </a:accent5>
      <a:accent6>
        <a:srgbClr val="7F7F7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KI PowerPoint Template.potx" id="{21480284-4AE2-4876-BAA9-9FBFC91DE43A}" vid="{DD07EA77-5C3C-4D1E-ABCA-141EBAF44A5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A75230A797B842B6AA0E848AF1FB75" ma:contentTypeVersion="4" ma:contentTypeDescription="Create a new document." ma:contentTypeScope="" ma:versionID="60d2de021ca3473dffeef4e7e56412bd">
  <xsd:schema xmlns:xsd="http://www.w3.org/2001/XMLSchema" xmlns:xs="http://www.w3.org/2001/XMLSchema" xmlns:p="http://schemas.microsoft.com/office/2006/metadata/properties" xmlns:ns2="c989d2b1-5c68-4117-a734-7973ecdc69b4" xmlns:ns3="93c63703-22ee-4afb-a304-83b7029fc283" targetNamespace="http://schemas.microsoft.com/office/2006/metadata/properties" ma:root="true" ma:fieldsID="d8c6dc2cf30368aa65e23a73e0b9d350" ns2:_="" ns3:_="">
    <xsd:import namespace="c989d2b1-5c68-4117-a734-7973ecdc69b4"/>
    <xsd:import namespace="93c63703-22ee-4afb-a304-83b7029fc28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89d2b1-5c68-4117-a734-7973ecdc69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c63703-22ee-4afb-a304-83b7029fc28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FACB76F-0C0E-44D0-97A2-02C081D541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89d2b1-5c68-4117-a734-7973ecdc69b4"/>
    <ds:schemaRef ds:uri="93c63703-22ee-4afb-a304-83b7029fc2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660574-4DC3-4B55-9458-FA9A7B2FB8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2D9CBA-F0E6-477C-A6BF-44E355087A47}">
  <ds:schemaRefs>
    <ds:schemaRef ds:uri="abe6aacc-d069-43d2-94ca-b926c6383fc3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  <ds:schemaRef ds:uri="93c63703-22ee-4afb-a304-83b7029fc283"/>
    <ds:schemaRef ds:uri="bd8d27c7-d309-4c62-b879-6070b78c4de0"/>
    <ds:schemaRef ds:uri="b2d61f4f-c937-4267-aba9-55ff9221e66b"/>
  </ds:schemaRefs>
</ds:datastoreItem>
</file>

<file path=docMetadata/LabelInfo.xml><?xml version="1.0" encoding="utf-8"?>
<clbl:labelList xmlns:clbl="http://schemas.microsoft.com/office/2020/mipLabelMetadata">
  <clbl:label id="{97839224-6e54-474c-918f-b7ebadf41f2b}" enabled="0" method="" siteId="{97839224-6e54-474c-918f-b7ebadf41f2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KI PowerPoint Template</Template>
  <TotalTime>0</TotalTime>
  <Words>227</Words>
  <Application>Microsoft Office PowerPoint</Application>
  <PresentationFormat>Widescreen</PresentationFormat>
  <Paragraphs>34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Office Theme</vt:lpstr>
      <vt:lpstr>think-cell Slide</vt:lpstr>
      <vt:lpstr>Внесення KTS® та CaTs®  </vt:lpstr>
      <vt:lpstr>Технологія з CaTs®</vt:lpstr>
      <vt:lpstr>Технологія з KTS®</vt:lpstr>
      <vt:lpstr>Thank You!</vt:lpstr>
    </vt:vector>
  </TitlesOfParts>
  <Company>Tessenderlo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хнология для моркови с применением KTS®</dc:title>
  <dc:creator>Eugene Lugovskyi</dc:creator>
  <cp:keywords>BM TKI</cp:keywords>
  <cp:lastModifiedBy>Eugene Lugovskyi</cp:lastModifiedBy>
  <cp:revision>2</cp:revision>
  <dcterms:created xsi:type="dcterms:W3CDTF">2023-05-11T07:09:58Z</dcterms:created>
  <dcterms:modified xsi:type="dcterms:W3CDTF">2024-04-02T13:3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A75230A797B842B6AA0E848AF1FB75</vt:lpwstr>
  </property>
  <property fmtid="{D5CDD505-2E9C-101B-9397-08002B2CF9AE}" pid="3" name="_dlc_DocIdItemGuid">
    <vt:lpwstr>fbac2fd5-f685-4693-96aa-89bc0efa753b</vt:lpwstr>
  </property>
  <property fmtid="{D5CDD505-2E9C-101B-9397-08002B2CF9AE}" pid="4" name="TaxKeyword">
    <vt:lpwstr>106;#BM TKI|0175d72c-e9a6-4139-aa1a-eaf05c79f2e3</vt:lpwstr>
  </property>
  <property fmtid="{D5CDD505-2E9C-101B-9397-08002B2CF9AE}" pid="5" name="TgIctIntranetBU">
    <vt:lpwstr>230;#All|7119c348-6f22-46a9-ac66-8d81522a0781</vt:lpwstr>
  </property>
  <property fmtid="{D5CDD505-2E9C-101B-9397-08002B2CF9AE}" pid="6" name="TgIctIntranetLanguage">
    <vt:lpwstr/>
  </property>
</Properties>
</file>